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40" r:id="rId3"/>
  </p:sldMasterIdLst>
  <p:notesMasterIdLst>
    <p:notesMasterId r:id="rId6"/>
  </p:notesMasterIdLst>
  <p:sldIdLst>
    <p:sldId id="2145705779" r:id="rId4"/>
    <p:sldId id="278" r:id="rId5"/>
  </p:sldIdLst>
  <p:sldSz cx="12192000" cy="6858000"/>
  <p:notesSz cx="6858000" cy="9144000"/>
  <p:embeddedFontLst>
    <p:embeddedFont>
      <p:font typeface="Aleo" panose="00000500000000000000" pitchFamily="2" charset="0"/>
      <p:regular r:id="rId7"/>
      <p:bold r:id="rId8"/>
      <p:italic r:id="rId9"/>
      <p:boldItalic r:id="rId10"/>
    </p:embeddedFont>
    <p:embeddedFont>
      <p:font typeface="Montserrat" panose="00000500000000000000" pitchFamily="2" charset="0"/>
      <p:regular r:id="rId11"/>
      <p:bold r:id="rId12"/>
      <p:italic r:id="rId13"/>
      <p:boldItalic r:id="rId14"/>
    </p:embeddedFont>
    <p:embeddedFont>
      <p:font typeface="Montserrat Light" panose="00000400000000000000" pitchFamily="2" charset="0"/>
      <p:regular r:id="rId15"/>
      <p:italic r:id="rId16"/>
    </p:embeddedFont>
    <p:embeddedFont>
      <p:font typeface="Montserrat SemiBold" panose="00000700000000000000" pitchFamily="2" charset="0"/>
      <p:regular r:id="rId17"/>
      <p:bold r:id="rId18"/>
      <p:italic r:id="rId19"/>
      <p:boldItalic r:id="rId20"/>
    </p:embeddedFont>
    <p:embeddedFont>
      <p:font typeface="Montserrat Thin" panose="00000300000000000000" pitchFamily="2" charset="0"/>
      <p:regular r:id="rId21"/>
      <p:italic r:id="rId2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88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004E"/>
    <a:srgbClr val="2E00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79" autoAdjust="0"/>
    <p:restoredTop sz="96327"/>
  </p:normalViewPr>
  <p:slideViewPr>
    <p:cSldViewPr snapToGrid="0" snapToObjects="1">
      <p:cViewPr varScale="1">
        <p:scale>
          <a:sx n="158" d="100"/>
          <a:sy n="158" d="100"/>
        </p:scale>
        <p:origin x="108" y="160"/>
      </p:cViewPr>
      <p:guideLst>
        <p:guide orient="horz" pos="208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font" Target="fonts/font12.fntdata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21" Type="http://schemas.openxmlformats.org/officeDocument/2006/relationships/font" Target="fonts/font15.fntdata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font" Target="fonts/font11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10.fntdata"/><Relationship Id="rId20" Type="http://schemas.openxmlformats.org/officeDocument/2006/relationships/font" Target="fonts/font14.fntdata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font" Target="fonts/font9.fntdata"/><Relationship Id="rId23" Type="http://schemas.openxmlformats.org/officeDocument/2006/relationships/presProps" Target="presProps.xml"/><Relationship Id="rId10" Type="http://schemas.openxmlformats.org/officeDocument/2006/relationships/font" Target="fonts/font4.fntdata"/><Relationship Id="rId19" Type="http://schemas.openxmlformats.org/officeDocument/2006/relationships/font" Target="fonts/font13.fntdata"/><Relationship Id="rId4" Type="http://schemas.openxmlformats.org/officeDocument/2006/relationships/slide" Target="slides/slide1.xml"/><Relationship Id="rId9" Type="http://schemas.openxmlformats.org/officeDocument/2006/relationships/font" Target="fonts/font3.fntdata"/><Relationship Id="rId14" Type="http://schemas.openxmlformats.org/officeDocument/2006/relationships/font" Target="fonts/font8.fntdata"/><Relationship Id="rId22" Type="http://schemas.openxmlformats.org/officeDocument/2006/relationships/font" Target="fonts/font16.fntdata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rris Tucker" userId="c369f51a-ca7d-48c0-b597-7296305738a3" providerId="ADAL" clId="{767EA885-52B1-4847-85C8-CF6D5BB90543}"/>
    <pc:docChg chg="custSel delSld modSld">
      <pc:chgData name="Harris Tucker" userId="c369f51a-ca7d-48c0-b597-7296305738a3" providerId="ADAL" clId="{767EA885-52B1-4847-85C8-CF6D5BB90543}" dt="2024-11-06T04:36:17.708" v="726" actId="20577"/>
      <pc:docMkLst>
        <pc:docMk/>
      </pc:docMkLst>
      <pc:sldChg chg="del">
        <pc:chgData name="Harris Tucker" userId="c369f51a-ca7d-48c0-b597-7296305738a3" providerId="ADAL" clId="{767EA885-52B1-4847-85C8-CF6D5BB90543}" dt="2024-10-28T16:48:12.262" v="201" actId="2696"/>
        <pc:sldMkLst>
          <pc:docMk/>
          <pc:sldMk cId="157954797" sldId="2145705778"/>
        </pc:sldMkLst>
      </pc:sldChg>
      <pc:sldChg chg="modSp mod">
        <pc:chgData name="Harris Tucker" userId="c369f51a-ca7d-48c0-b597-7296305738a3" providerId="ADAL" clId="{767EA885-52B1-4847-85C8-CF6D5BB90543}" dt="2024-11-06T04:36:17.708" v="726" actId="20577"/>
        <pc:sldMkLst>
          <pc:docMk/>
          <pc:sldMk cId="603864117" sldId="2145705779"/>
        </pc:sldMkLst>
        <pc:spChg chg="mod">
          <ac:chgData name="Harris Tucker" userId="c369f51a-ca7d-48c0-b597-7296305738a3" providerId="ADAL" clId="{767EA885-52B1-4847-85C8-CF6D5BB90543}" dt="2024-11-06T04:36:17.708" v="726" actId="20577"/>
          <ac:spMkLst>
            <pc:docMk/>
            <pc:sldMk cId="603864117" sldId="2145705779"/>
            <ac:spMk id="14" creationId="{B4E59A50-D346-4029-B66A-D2AF0B056324}"/>
          </ac:spMkLst>
        </pc:spChg>
        <pc:graphicFrameChg chg="modGraphic">
          <ac:chgData name="Harris Tucker" userId="c369f51a-ca7d-48c0-b597-7296305738a3" providerId="ADAL" clId="{767EA885-52B1-4847-85C8-CF6D5BB90543}" dt="2024-10-28T16:48:47.465" v="211" actId="20577"/>
          <ac:graphicFrameMkLst>
            <pc:docMk/>
            <pc:sldMk cId="603864117" sldId="2145705779"/>
            <ac:graphicFrameMk id="3" creationId="{E921E0A3-5BDB-4E9C-846E-EF4ACCD4CD76}"/>
          </ac:graphicFrameMkLst>
        </pc:graphicFrameChg>
      </pc:sldChg>
    </pc:docChg>
  </pc:docChgLst>
  <pc:docChgLst>
    <pc:chgData name="Harris Tucker" userId="c369f51a-ca7d-48c0-b597-7296305738a3" providerId="ADAL" clId="{747F8098-5FAF-4B6B-9A82-435895FE9F4F}"/>
    <pc:docChg chg="delSld modSld">
      <pc:chgData name="Harris Tucker" userId="c369f51a-ca7d-48c0-b597-7296305738a3" providerId="ADAL" clId="{747F8098-5FAF-4B6B-9A82-435895FE9F4F}" dt="2024-10-08T14:54:57.127" v="6" actId="20577"/>
      <pc:docMkLst>
        <pc:docMk/>
      </pc:docMkLst>
      <pc:sldChg chg="del">
        <pc:chgData name="Harris Tucker" userId="c369f51a-ca7d-48c0-b597-7296305738a3" providerId="ADAL" clId="{747F8098-5FAF-4B6B-9A82-435895FE9F4F}" dt="2024-10-08T14:33:38.913" v="0" actId="2696"/>
        <pc:sldMkLst>
          <pc:docMk/>
          <pc:sldMk cId="1532548140" sldId="276"/>
        </pc:sldMkLst>
      </pc:sldChg>
      <pc:sldChg chg="del">
        <pc:chgData name="Harris Tucker" userId="c369f51a-ca7d-48c0-b597-7296305738a3" providerId="ADAL" clId="{747F8098-5FAF-4B6B-9A82-435895FE9F4F}" dt="2024-10-08T14:33:42.526" v="1" actId="2696"/>
        <pc:sldMkLst>
          <pc:docMk/>
          <pc:sldMk cId="2656337694" sldId="2145705776"/>
        </pc:sldMkLst>
      </pc:sldChg>
      <pc:sldChg chg="modSp mod">
        <pc:chgData name="Harris Tucker" userId="c369f51a-ca7d-48c0-b597-7296305738a3" providerId="ADAL" clId="{747F8098-5FAF-4B6B-9A82-435895FE9F4F}" dt="2024-10-08T14:54:57.127" v="6" actId="20577"/>
        <pc:sldMkLst>
          <pc:docMk/>
          <pc:sldMk cId="603864117" sldId="2145705779"/>
        </pc:sldMkLst>
        <pc:spChg chg="mod">
          <ac:chgData name="Harris Tucker" userId="c369f51a-ca7d-48c0-b597-7296305738a3" providerId="ADAL" clId="{747F8098-5FAF-4B6B-9A82-435895FE9F4F}" dt="2024-10-08T14:54:57.127" v="6" actId="20577"/>
          <ac:spMkLst>
            <pc:docMk/>
            <pc:sldMk cId="603864117" sldId="2145705779"/>
            <ac:spMk id="14" creationId="{B4E59A50-D346-4029-B66A-D2AF0B056324}"/>
          </ac:spMkLst>
        </pc:spChg>
      </pc:sldChg>
      <pc:sldChg chg="del">
        <pc:chgData name="Harris Tucker" userId="c369f51a-ca7d-48c0-b597-7296305738a3" providerId="ADAL" clId="{747F8098-5FAF-4B6B-9A82-435895FE9F4F}" dt="2024-10-08T14:33:48.171" v="2" actId="2696"/>
        <pc:sldMkLst>
          <pc:docMk/>
          <pc:sldMk cId="2800039408" sldId="2145705780"/>
        </pc:sldMkLst>
      </pc:sldChg>
      <pc:sldChg chg="del">
        <pc:chgData name="Harris Tucker" userId="c369f51a-ca7d-48c0-b597-7296305738a3" providerId="ADAL" clId="{747F8098-5FAF-4B6B-9A82-435895FE9F4F}" dt="2024-10-08T14:33:48.171" v="2" actId="2696"/>
        <pc:sldMkLst>
          <pc:docMk/>
          <pc:sldMk cId="3048798524" sldId="2145705781"/>
        </pc:sldMkLst>
      </pc:sldChg>
      <pc:sldChg chg="del">
        <pc:chgData name="Harris Tucker" userId="c369f51a-ca7d-48c0-b597-7296305738a3" providerId="ADAL" clId="{747F8098-5FAF-4B6B-9A82-435895FE9F4F}" dt="2024-10-08T14:33:48.171" v="2" actId="2696"/>
        <pc:sldMkLst>
          <pc:docMk/>
          <pc:sldMk cId="2330033594" sldId="2145705785"/>
        </pc:sldMkLst>
      </pc:sldChg>
      <pc:sldChg chg="del">
        <pc:chgData name="Harris Tucker" userId="c369f51a-ca7d-48c0-b597-7296305738a3" providerId="ADAL" clId="{747F8098-5FAF-4B6B-9A82-435895FE9F4F}" dt="2024-10-08T14:33:48.171" v="2" actId="2696"/>
        <pc:sldMkLst>
          <pc:docMk/>
          <pc:sldMk cId="2686446269" sldId="2145705786"/>
        </pc:sldMkLst>
      </pc:sldChg>
      <pc:sldChg chg="del">
        <pc:chgData name="Harris Tucker" userId="c369f51a-ca7d-48c0-b597-7296305738a3" providerId="ADAL" clId="{747F8098-5FAF-4B6B-9A82-435895FE9F4F}" dt="2024-10-08T14:33:38.913" v="0" actId="2696"/>
        <pc:sldMkLst>
          <pc:docMk/>
          <pc:sldMk cId="2119112999" sldId="2145705787"/>
        </pc:sldMkLst>
      </pc:sldChg>
      <pc:sldChg chg="del">
        <pc:chgData name="Harris Tucker" userId="c369f51a-ca7d-48c0-b597-7296305738a3" providerId="ADAL" clId="{747F8098-5FAF-4B6B-9A82-435895FE9F4F}" dt="2024-10-08T14:33:48.171" v="2" actId="2696"/>
        <pc:sldMkLst>
          <pc:docMk/>
          <pc:sldMk cId="1201380520" sldId="214570578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6ACF7-0749-2041-94B7-F32ED60933DB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D452EF-56B8-0742-BC71-007E607EB6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630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CDDFBA-EED7-44CC-9F72-23D02B2C185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853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tif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Image Slide">
    <p:bg>
      <p:bgPr>
        <a:gradFill>
          <a:gsLst>
            <a:gs pos="0">
              <a:srgbClr val="440099"/>
            </a:gs>
            <a:gs pos="72000">
              <a:srgbClr val="30007C"/>
            </a:gs>
            <a:gs pos="100000">
              <a:srgbClr val="2800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5B09227A-0DC1-8F6D-9449-F480C4C2D1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9623" y="-1"/>
            <a:ext cx="8252377" cy="5487831"/>
          </a:xfrm>
          <a:prstGeom prst="rect">
            <a:avLst/>
          </a:prstGeom>
        </p:spPr>
      </p:pic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2FF55DB1-016F-D8F7-4AA0-0794ABAD2E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80" t="127" r="992" b="1833"/>
          <a:stretch/>
        </p:blipFill>
        <p:spPr>
          <a:xfrm>
            <a:off x="0" y="0"/>
            <a:ext cx="12190574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DAF51AB-A37F-024D-ACB7-5880332A5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34955" y="5765346"/>
            <a:ext cx="2128336" cy="654873"/>
          </a:xfrm>
          <a:prstGeom prst="rect">
            <a:avLst/>
          </a:prstGeom>
        </p:spPr>
      </p:pic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CA60CD8C-A213-DC1F-D598-585E36C7E4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6695" y="1270000"/>
            <a:ext cx="4183966" cy="265080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OF PRESENTATION (H1*)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4F5BC009-550D-D581-3F0B-9D638488C6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695" y="4258824"/>
            <a:ext cx="4295505" cy="17736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Montserrat Thin" pitchFamily="2" charset="77"/>
              </a:defRPr>
            </a:lvl1pPr>
          </a:lstStyle>
          <a:p>
            <a:pPr lvl="0"/>
            <a:r>
              <a:rPr lang="en-US" dirty="0"/>
              <a:t>NAME  |  TITLE</a:t>
            </a:r>
          </a:p>
          <a:p>
            <a:pPr lvl="0"/>
            <a:r>
              <a:rPr lang="en-US" dirty="0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755CDF8-4847-870B-58E9-9279DED71F3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34955" y="5765346"/>
            <a:ext cx="2128336" cy="65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422053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534A5251-0971-CDBC-42AC-C36B3A7DE6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7B4D601-C75B-7B49-A12C-59F60B0B0B4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8873" y="1524000"/>
            <a:ext cx="5537522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pic>
        <p:nvPicPr>
          <p:cNvPr id="12" name="Picture 1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61AD88FE-3A06-E54B-B04A-652EC27C9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191957A-9026-2049-A3BB-811CF4984E6C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F044FFAB-4EA3-4744-88C0-58C2589D871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15605" y="1535575"/>
            <a:ext cx="5537522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775DF79-B649-8347-BBBD-1C601326F77C}"/>
              </a:ext>
            </a:extLst>
          </p:cNvPr>
          <p:cNvCxnSpPr/>
          <p:nvPr/>
        </p:nvCxnSpPr>
        <p:spPr>
          <a:xfrm>
            <a:off x="6105144" y="1514856"/>
            <a:ext cx="0" cy="4583575"/>
          </a:xfrm>
          <a:prstGeom prst="line">
            <a:avLst/>
          </a:prstGeom>
          <a:ln w="158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C5DDC1C4-81B9-444E-B4F2-9183A4AB30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98928"/>
            <a:ext cx="10745992" cy="381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A5BF672-8D40-6341-95A4-C1105589319C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D97B6-8B36-0EA5-9D3D-68636F422A6D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9916AB26-FA57-035F-E4C8-D0C78D0C41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2F1C01-64CE-347F-C3D5-14E402D354D4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D0DD5D-C0F4-6263-DA91-21D3D1F32E9B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151569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80">
          <p15:clr>
            <a:srgbClr val="FBAE40"/>
          </p15:clr>
        </p15:guide>
        <p15:guide id="4" pos="720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0E1BB00C-6779-A07F-D796-5D921E57359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7B4D601-C75B-7B49-A12C-59F60B0B0B4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8873" y="1524000"/>
            <a:ext cx="5537522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pic>
        <p:nvPicPr>
          <p:cNvPr id="12" name="Picture 1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61AD88FE-3A06-E54B-B04A-652EC27C9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191957A-9026-2049-A3BB-811CF4984E6C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F044FFAB-4EA3-4744-88C0-58C2589D871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15605" y="1535575"/>
            <a:ext cx="5537522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775DF79-B649-8347-BBBD-1C601326F77C}"/>
              </a:ext>
            </a:extLst>
          </p:cNvPr>
          <p:cNvCxnSpPr/>
          <p:nvPr/>
        </p:nvCxnSpPr>
        <p:spPr>
          <a:xfrm>
            <a:off x="6105144" y="1514856"/>
            <a:ext cx="0" cy="4583575"/>
          </a:xfrm>
          <a:prstGeom prst="line">
            <a:avLst/>
          </a:prstGeom>
          <a:ln w="158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0A08F2E0-3813-684C-BBA2-D3CF036ED4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80999"/>
            <a:ext cx="10745992" cy="2462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65A6B50-BEA6-544C-B960-1B77F98CBA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871" y="693085"/>
            <a:ext cx="10756471" cy="184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sz="10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SUBHEAD (H2*)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F8DEAF7-1E72-D244-AC94-0A4349D08F88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FE73A7-285C-0F72-3A4D-D909ED0AD9EB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DE5F6317-BB15-21FA-4528-978B8ACADC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C9735E-796E-7571-4C7A-0348EBC6CB8A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1FB58E-3CA2-63CB-CC23-203AEBAB81A6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805753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80">
          <p15:clr>
            <a:srgbClr val="FBAE40"/>
          </p15:clr>
        </p15:guide>
        <p15:guide id="4" pos="720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Dark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BB083C8D-B7A1-ECA6-82DF-BE08289DB1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1A6D0A24-4EDF-0CBF-7ACB-9BF097BA7A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6463F4B-5C1F-C54D-A83F-03D504E18D18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085E2668-B110-E44A-8D33-F2EC66DE14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25" name="Content Placeholder 13">
            <a:extLst>
              <a:ext uri="{FF2B5EF4-FFF2-40B4-BE49-F238E27FC236}">
                <a16:creationId xmlns:a16="http://schemas.microsoft.com/office/drawing/2014/main" id="{F09B65C4-C775-6B4F-8FF9-0624FF5AF0B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8873" y="1524000"/>
            <a:ext cx="5537522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26" name="Content Placeholder 13">
            <a:extLst>
              <a:ext uri="{FF2B5EF4-FFF2-40B4-BE49-F238E27FC236}">
                <a16:creationId xmlns:a16="http://schemas.microsoft.com/office/drawing/2014/main" id="{680C1544-5214-BA44-BD08-349736665ED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5605" y="1535575"/>
            <a:ext cx="5537522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D3C25C7-C673-2448-8331-432E05EB28F2}"/>
              </a:ext>
            </a:extLst>
          </p:cNvPr>
          <p:cNvCxnSpPr/>
          <p:nvPr/>
        </p:nvCxnSpPr>
        <p:spPr>
          <a:xfrm>
            <a:off x="6105144" y="1514856"/>
            <a:ext cx="0" cy="4583575"/>
          </a:xfrm>
          <a:prstGeom prst="line">
            <a:avLst/>
          </a:prstGeom>
          <a:ln w="15875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5731E053-B4B2-A942-BE4F-D56D294914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98928"/>
            <a:ext cx="10745992" cy="381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18962B-5040-29F5-240D-1B8D0B578E2F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D3567D-7D7C-1FCB-6E1E-F860CBEE8E51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3558216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Subhead Dark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67A893B0-ECC3-6EB1-243A-2617ACBF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5701EA2B-1000-0317-9197-210AD7633E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6463F4B-5C1F-C54D-A83F-03D504E18D18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085E2668-B110-E44A-8D33-F2EC66DE14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25" name="Content Placeholder 13">
            <a:extLst>
              <a:ext uri="{FF2B5EF4-FFF2-40B4-BE49-F238E27FC236}">
                <a16:creationId xmlns:a16="http://schemas.microsoft.com/office/drawing/2014/main" id="{F09B65C4-C775-6B4F-8FF9-0624FF5AF0B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8873" y="1524000"/>
            <a:ext cx="5537522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26" name="Content Placeholder 13">
            <a:extLst>
              <a:ext uri="{FF2B5EF4-FFF2-40B4-BE49-F238E27FC236}">
                <a16:creationId xmlns:a16="http://schemas.microsoft.com/office/drawing/2014/main" id="{680C1544-5214-BA44-BD08-349736665ED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5605" y="1535575"/>
            <a:ext cx="5537522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D3C25C7-C673-2448-8331-432E05EB28F2}"/>
              </a:ext>
            </a:extLst>
          </p:cNvPr>
          <p:cNvCxnSpPr/>
          <p:nvPr/>
        </p:nvCxnSpPr>
        <p:spPr>
          <a:xfrm>
            <a:off x="6105144" y="1514856"/>
            <a:ext cx="0" cy="4583575"/>
          </a:xfrm>
          <a:prstGeom prst="line">
            <a:avLst/>
          </a:prstGeom>
          <a:ln w="15875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3756FBAB-B018-154A-A936-C9EB2249E4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420982"/>
            <a:ext cx="10745992" cy="2462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bg1"/>
                </a:solidFill>
                <a:effectLst/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594DDBE0-6958-1642-8ADF-4C425DCAD9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351" y="750040"/>
            <a:ext cx="10745992" cy="14630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0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SUBHEAD (H2*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62C6C88-298E-4060-2CF5-4799D4A29DCC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4DECEA-400D-8306-90F4-9E5B12DB058F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7808326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7B2FE347-FEC6-EC85-96A1-E33BFE5421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7B4D601-C75B-7B49-A12C-59F60B0B0B4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5026" y="1524000"/>
            <a:ext cx="3633191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pic>
        <p:nvPicPr>
          <p:cNvPr id="12" name="Picture 1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61AD88FE-3A06-E54B-B04A-652EC27C9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191957A-9026-2049-A3BB-811CF4984E6C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63B760A5-6203-0140-8D6C-CEED175DD7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65245" y="1510882"/>
            <a:ext cx="3530279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167CA666-8C36-D740-B1E3-DEECF4B5CA5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30861" y="1524000"/>
            <a:ext cx="3530279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1657F0E-CBD5-CB4B-8F6F-D328E0CB9C3E}"/>
              </a:ext>
            </a:extLst>
          </p:cNvPr>
          <p:cNvCxnSpPr/>
          <p:nvPr/>
        </p:nvCxnSpPr>
        <p:spPr>
          <a:xfrm>
            <a:off x="4194048" y="1524000"/>
            <a:ext cx="0" cy="4583575"/>
          </a:xfrm>
          <a:prstGeom prst="line">
            <a:avLst/>
          </a:prstGeom>
          <a:ln w="158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19E57AE-9815-BE4C-B9E8-39A45DEE3D0F}"/>
              </a:ext>
            </a:extLst>
          </p:cNvPr>
          <p:cNvCxnSpPr/>
          <p:nvPr/>
        </p:nvCxnSpPr>
        <p:spPr>
          <a:xfrm>
            <a:off x="8013192" y="1524000"/>
            <a:ext cx="0" cy="4583575"/>
          </a:xfrm>
          <a:prstGeom prst="line">
            <a:avLst/>
          </a:prstGeom>
          <a:ln w="158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A8ED6AE-7DB7-9840-8390-13AE2C6882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98928"/>
            <a:ext cx="10745992" cy="381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128DCB2-1C24-324D-8884-408C54B50697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948464-0280-E82A-9A55-77EC26D6143D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AB654022-5CB0-F546-2401-674F864314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2C89014-F4D6-47B3-B43C-8039AD1CEB29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0E7B40-DF4F-61C3-A4A9-4D20068A3F1A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1523899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80">
          <p15:clr>
            <a:srgbClr val="FBAE40"/>
          </p15:clr>
        </p15:guide>
        <p15:guide id="4" pos="720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AD68485E-5DF3-08EF-1D32-39A97BF47E4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7B4D601-C75B-7B49-A12C-59F60B0B0B4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5026" y="1524000"/>
            <a:ext cx="3633191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pic>
        <p:nvPicPr>
          <p:cNvPr id="12" name="Picture 1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61AD88FE-3A06-E54B-B04A-652EC27C9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191957A-9026-2049-A3BB-811CF4984E6C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63B760A5-6203-0140-8D6C-CEED175DD7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65245" y="1510882"/>
            <a:ext cx="3530279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167CA666-8C36-D740-B1E3-DEECF4B5CA5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30861" y="1524000"/>
            <a:ext cx="3530279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latin typeface="Montserrat" pitchFamily="2" charset="77"/>
              </a:defRPr>
            </a:lvl1pPr>
            <a:lvl2pPr marL="11113" indent="0">
              <a:buNone/>
              <a:tabLst/>
              <a:defRPr sz="1400" b="0" i="0"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1657F0E-CBD5-CB4B-8F6F-D328E0CB9C3E}"/>
              </a:ext>
            </a:extLst>
          </p:cNvPr>
          <p:cNvCxnSpPr/>
          <p:nvPr/>
        </p:nvCxnSpPr>
        <p:spPr>
          <a:xfrm>
            <a:off x="4194048" y="1524000"/>
            <a:ext cx="0" cy="4583575"/>
          </a:xfrm>
          <a:prstGeom prst="line">
            <a:avLst/>
          </a:prstGeom>
          <a:ln w="158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19E57AE-9815-BE4C-B9E8-39A45DEE3D0F}"/>
              </a:ext>
            </a:extLst>
          </p:cNvPr>
          <p:cNvCxnSpPr/>
          <p:nvPr/>
        </p:nvCxnSpPr>
        <p:spPr>
          <a:xfrm>
            <a:off x="8013192" y="1524000"/>
            <a:ext cx="0" cy="4583575"/>
          </a:xfrm>
          <a:prstGeom prst="line">
            <a:avLst/>
          </a:prstGeom>
          <a:ln w="158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2C2C076-F76B-5543-88A9-7CBF1E4D5E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80999"/>
            <a:ext cx="10745992" cy="2462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B5DEA5-F2C6-444A-BAA4-2529627CE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871" y="693085"/>
            <a:ext cx="10756471" cy="184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sz="10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SUBHEAD (H2*)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E459EAE-0997-3743-920B-1608B1042C06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F588B0-B0A7-234B-9123-734E69E6715C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A0ED84B1-61E4-7982-5B16-6F11D9CB62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1116A77-E045-528E-93C4-FBEF54235033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0910C8-4ECA-11D6-A34F-161C70C66037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340051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80">
          <p15:clr>
            <a:srgbClr val="FBAE40"/>
          </p15:clr>
        </p15:guide>
        <p15:guide id="4" pos="720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Dark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32B56E07-2189-2BA0-FC22-1E21FB3FB4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0765D46B-5A5D-0D36-6EC3-2F5C09A7ED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2F318BCC-3261-1149-95F2-062F19D685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2F402A0D-32C3-2442-AE73-413D528BE68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5026" y="1524000"/>
            <a:ext cx="3633191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A88DC8E-AD84-BD43-B651-D116A6840534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AE6DB79C-60CD-F943-B632-DC67E41BC1D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65245" y="1510882"/>
            <a:ext cx="3530279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18" name="Content Placeholder 13">
            <a:extLst>
              <a:ext uri="{FF2B5EF4-FFF2-40B4-BE49-F238E27FC236}">
                <a16:creationId xmlns:a16="http://schemas.microsoft.com/office/drawing/2014/main" id="{B224366A-21A0-2042-8575-083A1AFC6E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30861" y="1524000"/>
            <a:ext cx="3530279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8B1E37F-809C-9940-AA90-2F0DE421D460}"/>
              </a:ext>
            </a:extLst>
          </p:cNvPr>
          <p:cNvCxnSpPr/>
          <p:nvPr/>
        </p:nvCxnSpPr>
        <p:spPr>
          <a:xfrm>
            <a:off x="4194048" y="1524000"/>
            <a:ext cx="0" cy="4583575"/>
          </a:xfrm>
          <a:prstGeom prst="line">
            <a:avLst/>
          </a:prstGeom>
          <a:ln w="15875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E64BF8A-4C14-1349-BA5B-109EB56F0EDD}"/>
              </a:ext>
            </a:extLst>
          </p:cNvPr>
          <p:cNvCxnSpPr/>
          <p:nvPr/>
        </p:nvCxnSpPr>
        <p:spPr>
          <a:xfrm>
            <a:off x="8013192" y="1524000"/>
            <a:ext cx="0" cy="4583575"/>
          </a:xfrm>
          <a:prstGeom prst="line">
            <a:avLst/>
          </a:prstGeom>
          <a:ln w="15875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E557C0AF-9AA5-244D-9277-F45E1609A4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98928"/>
            <a:ext cx="10745992" cy="381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5C6DD5E-0DE5-1C10-F495-BA96AB5A96F1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FB9A61-704E-48EE-9799-FDFD81FA71E1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807754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Subhead Dark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1E4ABD42-A9D2-2A47-9BD7-CA11A05D08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9C31283F-F563-7A7F-3FF6-DD01B9033B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2F318BCC-3261-1149-95F2-062F19D685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2F402A0D-32C3-2442-AE73-413D528BE68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5026" y="1524000"/>
            <a:ext cx="3633191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A88DC8E-AD84-BD43-B651-D116A6840534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AE6DB79C-60CD-F943-B632-DC67E41BC1D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65245" y="1510882"/>
            <a:ext cx="3530279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18" name="Content Placeholder 13">
            <a:extLst>
              <a:ext uri="{FF2B5EF4-FFF2-40B4-BE49-F238E27FC236}">
                <a16:creationId xmlns:a16="http://schemas.microsoft.com/office/drawing/2014/main" id="{B224366A-21A0-2042-8575-083A1AFC6E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30861" y="1524000"/>
            <a:ext cx="3530279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8B1E37F-809C-9940-AA90-2F0DE421D460}"/>
              </a:ext>
            </a:extLst>
          </p:cNvPr>
          <p:cNvCxnSpPr/>
          <p:nvPr/>
        </p:nvCxnSpPr>
        <p:spPr>
          <a:xfrm>
            <a:off x="4194048" y="1524000"/>
            <a:ext cx="0" cy="4583575"/>
          </a:xfrm>
          <a:prstGeom prst="line">
            <a:avLst/>
          </a:prstGeom>
          <a:ln w="15875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E64BF8A-4C14-1349-BA5B-109EB56F0EDD}"/>
              </a:ext>
            </a:extLst>
          </p:cNvPr>
          <p:cNvCxnSpPr/>
          <p:nvPr/>
        </p:nvCxnSpPr>
        <p:spPr>
          <a:xfrm>
            <a:off x="8013192" y="1524000"/>
            <a:ext cx="0" cy="4583575"/>
          </a:xfrm>
          <a:prstGeom prst="line">
            <a:avLst/>
          </a:prstGeom>
          <a:ln w="15875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CD616589-5B36-9848-92B9-17A7160D97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420982"/>
            <a:ext cx="10745992" cy="2462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bg1"/>
                </a:solidFill>
                <a:effectLst/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0AE229E-7A0C-C148-89CE-9992CE9172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351" y="750040"/>
            <a:ext cx="10745992" cy="14630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0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SUBHEAD (H2*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8A6550-CEBE-2BB3-8180-0DC29C6C4FE5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7148A4-E647-F409-DE18-980515AE5933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3830543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FBD5E09D-0BC8-F943-7343-20C514AC0C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561666"/>
          </a:xfrm>
          <a:prstGeom prst="rect">
            <a:avLst/>
          </a:prstGeom>
        </p:spPr>
      </p:pic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8ABEFCE-EAD5-ED4E-9963-9E2099B87B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6694" y="2971561"/>
            <a:ext cx="11280281" cy="45743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HERE (H1*)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0CF11B3-8585-3A4D-626F-920E5EFC4B41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90A884-CF61-1E01-63B4-0D5517476347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8053735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776099A1-218E-F5C6-E3CB-D0480D25C7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61AD88FE-3A06-E54B-B04A-652EC27C9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191957A-9026-2049-A3BB-811CF4984E6C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A8ED6AE-7DB7-9840-8390-13AE2C6882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98928"/>
            <a:ext cx="10745992" cy="381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31EFF27-160E-B741-8A92-095FFEAEC230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FDE24D-0230-2E95-4607-7E28296C5721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1877622C-519B-D173-0BB5-7F3230C28A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B9E28FF-7545-457F-A083-7B571AF1397A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5D5D3BA-135A-A3D3-A8AA-1BC8E0D96230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780239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80">
          <p15:clr>
            <a:srgbClr val="FBAE40"/>
          </p15:clr>
        </p15:guide>
        <p15:guide id="4" pos="72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Image Slide">
    <p:bg>
      <p:bgPr>
        <a:gradFill>
          <a:gsLst>
            <a:gs pos="0">
              <a:srgbClr val="440099"/>
            </a:gs>
            <a:gs pos="72000">
              <a:srgbClr val="30007C"/>
            </a:gs>
            <a:gs pos="100000">
              <a:srgbClr val="2800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58B66E04-5EA6-E1D6-9128-08F6F27F33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7578"/>
          <a:stretch/>
        </p:blipFill>
        <p:spPr>
          <a:xfrm>
            <a:off x="3778806" y="-8905"/>
            <a:ext cx="8413194" cy="5446644"/>
          </a:xfrm>
          <a:prstGeom prst="rect">
            <a:avLst/>
          </a:prstGeom>
        </p:spPr>
      </p:pic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8DBECDEA-6216-C363-D9A4-3DE99306A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0" r="980" b="1834"/>
          <a:stretch/>
        </p:blipFill>
        <p:spPr>
          <a:xfrm>
            <a:off x="0" y="-8905"/>
            <a:ext cx="12192000" cy="6866905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DAF51AB-A37F-024D-ACB7-5880332A5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34955" y="5765346"/>
            <a:ext cx="2128336" cy="654873"/>
          </a:xfrm>
          <a:prstGeom prst="rect">
            <a:avLst/>
          </a:prstGeom>
        </p:spPr>
      </p:pic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CA60CD8C-A213-DC1F-D598-585E36C7E4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6695" y="1270000"/>
            <a:ext cx="4183966" cy="265080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OF PRESENTATION (H1*)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4F5BC009-550D-D581-3F0B-9D638488C6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695" y="4258824"/>
            <a:ext cx="4295505" cy="17736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Montserrat Thin" pitchFamily="2" charset="77"/>
              </a:defRPr>
            </a:lvl1pPr>
          </a:lstStyle>
          <a:p>
            <a:pPr lvl="0"/>
            <a:r>
              <a:rPr lang="en-US" dirty="0"/>
              <a:t>NAME  |  TITLE</a:t>
            </a:r>
          </a:p>
          <a:p>
            <a:pPr lvl="0"/>
            <a:r>
              <a:rPr lang="en-US" dirty="0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1DE382A-6CF0-52B0-F33C-8CA46D375AE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34955" y="5765346"/>
            <a:ext cx="2128336" cy="65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618435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627076F8-24C5-0C2E-F0E0-652673F4B6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61AD88FE-3A06-E54B-B04A-652EC27C9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191957A-9026-2049-A3BB-811CF4984E6C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2C2C076-F76B-5543-88A9-7CBF1E4D5E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80999"/>
            <a:ext cx="10745992" cy="2462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B5DEA5-F2C6-444A-BAA4-2529627CE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871" y="693085"/>
            <a:ext cx="10756471" cy="184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sz="10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SUBHEAD (H2*)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FF40AF5-EE4C-9245-B149-A23307F63B3C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4974C3-BFD7-0A56-5298-EFF586335D09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855E6A17-675F-7177-27D5-8ED76688E6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F4A48A-7C36-DC30-65BC-9C52DCD1323B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24FA74-CB3B-B40A-C9E0-C0AD80F21F8E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466087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80">
          <p15:clr>
            <a:srgbClr val="FBAE40"/>
          </p15:clr>
        </p15:guide>
        <p15:guide id="4" pos="720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ark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DC957081-4442-3730-3F5E-8D453C8FD3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2F318BCC-3261-1149-95F2-062F19D685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A88DC8E-AD84-BD43-B651-D116A6840534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E557C0AF-9AA5-244D-9277-F45E1609A4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98928"/>
            <a:ext cx="10745992" cy="381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56D1859-496A-730C-4A53-6109B4BBD3A6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EC43242-FA12-D2CE-8916-82C378A90299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899455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ark Subhead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D07BC18D-D39A-BE22-E389-B5087B012A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2F318BCC-3261-1149-95F2-062F19D685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A88DC8E-AD84-BD43-B651-D116A6840534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CD616589-5B36-9848-92B9-17A7160D97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420982"/>
            <a:ext cx="10745992" cy="2462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bg1"/>
                </a:solidFill>
                <a:effectLst/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0AE229E-7A0C-C148-89CE-9992CE9172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351" y="750040"/>
            <a:ext cx="10745992" cy="14630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0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SUBHEAD (H2*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A85442-6356-57C0-F24E-CB4398B0AC42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A4AF-97CB-AE17-8BF5-2BFF2117BF4E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4393830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pplication&#10;&#10;Description automatically generated with low confidence">
            <a:extLst>
              <a:ext uri="{FF2B5EF4-FFF2-40B4-BE49-F238E27FC236}">
                <a16:creationId xmlns:a16="http://schemas.microsoft.com/office/drawing/2014/main" id="{C1390797-5300-1C8A-4D8A-FD70F51BBF7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3977702" cy="6858000"/>
          </a:xfrm>
          <a:prstGeom prst="rect">
            <a:avLst/>
          </a:prstGeom>
        </p:spPr>
      </p:pic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2D54372E-BD1E-2A41-8C25-E4A00DEE52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38440" y="0"/>
            <a:ext cx="8256607" cy="6858000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Click to place image</a:t>
            </a:r>
          </a:p>
        </p:txBody>
      </p:sp>
      <p:pic>
        <p:nvPicPr>
          <p:cNvPr id="3" name="Picture 2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93A5E86B-789E-6A48-8268-3564794073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864" y="381000"/>
            <a:ext cx="384048" cy="384048"/>
          </a:xfrm>
          <a:prstGeom prst="rect">
            <a:avLst/>
          </a:prstGeom>
        </p:spPr>
      </p:pic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F32AC6-1E28-8949-B052-068AC0E81BF4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85C2F4D-406D-A84A-B423-534743D5F985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2021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11621F2-4A04-7A40-B9B3-ECEEA04A86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199" y="1489414"/>
            <a:ext cx="2845609" cy="62295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6658023-3BB3-9D49-9A2A-AC5744D7CD05}"/>
              </a:ext>
            </a:extLst>
          </p:cNvPr>
          <p:cNvCxnSpPr>
            <a:cxnSpLocks/>
          </p:cNvCxnSpPr>
          <p:nvPr/>
        </p:nvCxnSpPr>
        <p:spPr>
          <a:xfrm>
            <a:off x="-12192" y="3060332"/>
            <a:ext cx="39384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EE2E30C-EED6-F84B-AB04-D4B245D16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326" y="2203708"/>
            <a:ext cx="2845609" cy="402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sz="10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SUBHEAD (H2*)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31C7B465-05B1-2A4B-9A6C-1616D76541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7697" y="3490704"/>
            <a:ext cx="2852111" cy="28369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Body Copy (B1*)</a:t>
            </a:r>
          </a:p>
        </p:txBody>
      </p:sp>
    </p:spTree>
    <p:extLst>
      <p:ext uri="{BB962C8B-B14F-4D97-AF65-F5344CB8AC3E}">
        <p14:creationId xmlns:p14="http://schemas.microsoft.com/office/powerpoint/2010/main" val="368622640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B090C0B6-3B32-1B6C-8838-28A4682109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3986846" cy="6858000"/>
          </a:xfrm>
          <a:prstGeom prst="rect">
            <a:avLst/>
          </a:prstGeom>
        </p:spPr>
      </p:pic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2D54372E-BD1E-2A41-8C25-E4A00DEE52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35392" y="0"/>
            <a:ext cx="8256607" cy="6858000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Click to place imag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8CD10419-843F-3B43-AF64-2AE63CEFF3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199" y="2145641"/>
            <a:ext cx="2845609" cy="185485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F32AC6-1E28-8949-B052-068AC0E81BF4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85C2F4D-406D-A84A-B423-534743D5F985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2021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90E603D8-F61B-7F44-8202-142FFB50A9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864" y="381642"/>
            <a:ext cx="384048" cy="384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334908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BC8BB231-7B40-8086-F02F-460E0C3CB1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3986846" cy="6858000"/>
          </a:xfrm>
          <a:prstGeom prst="rect">
            <a:avLst/>
          </a:prstGeom>
        </p:spPr>
      </p:pic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2D54372E-BD1E-2A41-8C25-E4A00DEE529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35392" y="0"/>
            <a:ext cx="8256607" cy="6858000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Click to place imag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8CD10419-843F-3B43-AF64-2AE63CEFF3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199" y="1473100"/>
            <a:ext cx="2845609" cy="62295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F32AC6-1E28-8949-B052-068AC0E81BF4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85C2F4D-406D-A84A-B423-534743D5F985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2021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90E603D8-F61B-7F44-8202-142FFB50A9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864" y="381642"/>
            <a:ext cx="384048" cy="384048"/>
          </a:xfrm>
          <a:prstGeom prst="rect">
            <a:avLst/>
          </a:prstGeom>
        </p:spPr>
      </p:pic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18EA51F1-DF6F-EA41-A235-AAF06E4B1E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2327" y="2196539"/>
            <a:ext cx="2845609" cy="3840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000" b="1" i="0">
                <a:solidFill>
                  <a:schemeClr val="bg1"/>
                </a:solidFill>
                <a:latin typeface="+mj-lt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SUBHEAD (H2*)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EAF1093-FF60-724A-A3B3-9DAC2EF65C9B}"/>
              </a:ext>
            </a:extLst>
          </p:cNvPr>
          <p:cNvCxnSpPr>
            <a:cxnSpLocks/>
          </p:cNvCxnSpPr>
          <p:nvPr/>
        </p:nvCxnSpPr>
        <p:spPr>
          <a:xfrm>
            <a:off x="-3048" y="3051188"/>
            <a:ext cx="39384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ADC941C8-42EA-194F-A559-C3A864C6F01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7697" y="3490704"/>
            <a:ext cx="2852111" cy="28369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Body Copy (B1*)</a:t>
            </a:r>
          </a:p>
        </p:txBody>
      </p:sp>
    </p:spTree>
    <p:extLst>
      <p:ext uri="{BB962C8B-B14F-4D97-AF65-F5344CB8AC3E}">
        <p14:creationId xmlns:p14="http://schemas.microsoft.com/office/powerpoint/2010/main" val="3385720648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ark-No-titl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A88DC8E-AD84-BD43-B651-D116A6840534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415FB4F3-7A4A-405F-AD20-E897249DCFE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90E43084-D65A-7C19-7EDF-3816FE6F26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F04DDAD-781F-71D7-42B7-0DDFF964F1ED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DFDBF9-0557-7E67-FD08-D9479F74ABC9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0491696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ight-No-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29D3CD55-5EE6-94FF-54A5-2C1CBE3A020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5A0897D-1A2F-0F1D-DAD1-58A5BE6ECF87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E2F01C2-397A-49E6-0A07-3DF2A5E586ED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5" name="Picture 4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B479BD24-B1FB-2E57-6525-7FBC9DE88A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582477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bg>
      <p:bgPr>
        <a:gradFill>
          <a:gsLst>
            <a:gs pos="0">
              <a:srgbClr val="440099"/>
            </a:gs>
            <a:gs pos="72000">
              <a:srgbClr val="30007C"/>
            </a:gs>
            <a:gs pos="100000">
              <a:srgbClr val="2800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 hidden="1">
            <a:extLst>
              <a:ext uri="{FF2B5EF4-FFF2-40B4-BE49-F238E27FC236}">
                <a16:creationId xmlns:a16="http://schemas.microsoft.com/office/drawing/2014/main" id="{3A827A45-49C6-2C4C-BDD3-6263450A7B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0245" y="2338456"/>
            <a:ext cx="4714627" cy="1464579"/>
          </a:xfrm>
          <a:prstGeom prst="rect">
            <a:avLst/>
          </a:prstGeom>
        </p:spPr>
      </p:pic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10A95E90-A24B-A047-8093-BC5A7DE269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0245" y="2338456"/>
            <a:ext cx="4714627" cy="14645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BCB3A1B-AC82-454B-92CA-4095E85DCAB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1948" y="2419181"/>
            <a:ext cx="5508103" cy="2019638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EE4C168-3B79-AAEE-287F-38802629B845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012B98-A191-CB25-0A51-4FD9D6FFAF84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6228699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ED813-7F6B-4F82-8ADD-E9606C3CCE71}" type="datetime1">
              <a:rPr lang="en-US" smtClean="0"/>
              <a:t>11/5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7A9E4-5B2C-4157-9C6E-D65CCF4769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294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Image Slide">
    <p:bg>
      <p:bgPr>
        <a:gradFill>
          <a:gsLst>
            <a:gs pos="0">
              <a:srgbClr val="440099"/>
            </a:gs>
            <a:gs pos="72000">
              <a:srgbClr val="30007C"/>
            </a:gs>
            <a:gs pos="100000">
              <a:srgbClr val="2800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50D94E55-F948-4715-B11C-8F6DCDA754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096"/>
          <a:stretch/>
        </p:blipFill>
        <p:spPr>
          <a:xfrm>
            <a:off x="4122539" y="0"/>
            <a:ext cx="8069462" cy="5446074"/>
          </a:xfrm>
          <a:prstGeom prst="rect">
            <a:avLst/>
          </a:prstGeom>
        </p:spPr>
      </p:pic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EA7E736A-EFAC-9976-48D4-295E248E7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1961" b="1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DAF51AB-A37F-024D-ACB7-5880332A5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34955" y="5765346"/>
            <a:ext cx="2128336" cy="654873"/>
          </a:xfrm>
          <a:prstGeom prst="rect">
            <a:avLst/>
          </a:prstGeom>
        </p:spPr>
      </p:pic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B608F99A-4DC5-CE4B-1F36-8023F3955D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6695" y="1270000"/>
            <a:ext cx="4183966" cy="265080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OF PRESENTATION (H1*)</a:t>
            </a:r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44F76450-45C9-2A2C-BEF5-EB30EF3879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695" y="4258824"/>
            <a:ext cx="4295505" cy="17736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Montserrat Thin" pitchFamily="2" charset="77"/>
              </a:defRPr>
            </a:lvl1pPr>
          </a:lstStyle>
          <a:p>
            <a:pPr lvl="0"/>
            <a:r>
              <a:rPr lang="en-US" dirty="0"/>
              <a:t>NAME  |  TITLE</a:t>
            </a:r>
          </a:p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9478219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, rectangle&#10;&#10;Description automatically generated" hidden="1">
            <a:extLst>
              <a:ext uri="{FF2B5EF4-FFF2-40B4-BE49-F238E27FC236}">
                <a16:creationId xmlns:a16="http://schemas.microsoft.com/office/drawing/2014/main" id="{40D0A40A-EE45-C8EA-25CA-0275465734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3F4DB0B5-0711-4D4D-9BBC-F5E6DDE553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6694" y="2849458"/>
            <a:ext cx="11280281" cy="45743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OF PRESENTATION (H1*)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E73FBF1-B264-D145-988A-81009BC20C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694" y="3531083"/>
            <a:ext cx="11280281" cy="17035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000" b="0" i="0">
                <a:solidFill>
                  <a:schemeClr val="bg1"/>
                </a:solidFill>
                <a:latin typeface="Montserrat Thin" pitchFamily="2" charset="77"/>
              </a:defRPr>
            </a:lvl1pPr>
          </a:lstStyle>
          <a:p>
            <a:pPr lvl="0"/>
            <a:r>
              <a:rPr lang="en-US" dirty="0"/>
              <a:t>NAME  |  MONTH DAY YEAR (H2*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F042EF-94B1-7440-93CE-B06CCA59D1C7}"/>
              </a:ext>
            </a:extLst>
          </p:cNvPr>
          <p:cNvSpPr txBox="1"/>
          <p:nvPr/>
        </p:nvSpPr>
        <p:spPr>
          <a:xfrm>
            <a:off x="512749" y="2467270"/>
            <a:ext cx="113742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bg1"/>
                </a:solidFill>
                <a:latin typeface="Montserrat SemiBold" pitchFamily="2" charset="77"/>
              </a:rPr>
              <a:t>EXTREME NETWORKS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ECC22A48-048F-984A-8465-659F5D9B27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56228" y="5906549"/>
            <a:ext cx="1431358" cy="435631"/>
          </a:xfrm>
          <a:prstGeom prst="rect">
            <a:avLst/>
          </a:prstGeom>
        </p:spPr>
      </p:pic>
      <p:pic>
        <p:nvPicPr>
          <p:cNvPr id="2" name="Picture 1" descr="Shape, rectangle&#10;&#10;Description automatically generated" hidden="1">
            <a:extLst>
              <a:ext uri="{FF2B5EF4-FFF2-40B4-BE49-F238E27FC236}">
                <a16:creationId xmlns:a16="http://schemas.microsoft.com/office/drawing/2014/main" id="{F5FB26B5-4E20-B70D-E593-920F1EDD41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607900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con&#10;&#10;Description automatically generated with low confidence">
            <a:extLst>
              <a:ext uri="{FF2B5EF4-FFF2-40B4-BE49-F238E27FC236}">
                <a16:creationId xmlns:a16="http://schemas.microsoft.com/office/drawing/2014/main" id="{BA343474-1DF2-26F2-A00D-0CFF1D9A9F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1999" cy="6857999"/>
          </a:xfrm>
          <a:prstGeom prst="rect">
            <a:avLst/>
          </a:prstGeom>
        </p:spPr>
      </p:pic>
      <p:pic>
        <p:nvPicPr>
          <p:cNvPr id="5" name="Picture 4" descr="Icon&#10;&#10;Description automatically generated with low confidence">
            <a:extLst>
              <a:ext uri="{FF2B5EF4-FFF2-40B4-BE49-F238E27FC236}">
                <a16:creationId xmlns:a16="http://schemas.microsoft.com/office/drawing/2014/main" id="{AB1009E9-BCFA-62C2-6DC5-B463521D0EE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1999" cy="6857999"/>
          </a:xfrm>
          <a:prstGeom prst="rect">
            <a:avLst/>
          </a:prstGeom>
        </p:spPr>
      </p:pic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AFFCE560-2FC9-7B48-A727-DF169CE0500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443061" y="1143000"/>
            <a:ext cx="3036251" cy="4953000"/>
          </a:xfrm>
          <a:prstGeom prst="rect">
            <a:avLst/>
          </a:prstGeom>
        </p:spPr>
        <p:txBody>
          <a:bodyPr lIns="0" rIns="0" anchor="ctr"/>
          <a:lstStyle>
            <a:lvl1pPr>
              <a:defRPr sz="1200" b="1" i="0">
                <a:latin typeface="Montserrat" pitchFamily="2" charset="77"/>
              </a:defRPr>
            </a:lvl1pPr>
            <a:lvl2pPr marL="9525" indent="0">
              <a:buNone/>
              <a:tabLst/>
              <a:defRPr sz="1000" b="0" i="0">
                <a:latin typeface="Montserrat" pitchFamily="2" charset="77"/>
              </a:defRPr>
            </a:lvl2pPr>
            <a:lvl3pPr>
              <a:defRPr sz="1800" b="0" i="0">
                <a:latin typeface="Montserrat" pitchFamily="2" charset="77"/>
              </a:defRPr>
            </a:lvl3pPr>
            <a:lvl4pPr>
              <a:defRPr sz="1800" b="0" i="0">
                <a:latin typeface="Montserrat" pitchFamily="2" charset="77"/>
              </a:defRPr>
            </a:lvl4pPr>
            <a:lvl5pPr>
              <a:defRPr sz="18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SECTION TITLE (B1*)</a:t>
            </a:r>
          </a:p>
          <a:p>
            <a:pPr lvl="1"/>
            <a:r>
              <a:rPr lang="en-US" dirty="0"/>
              <a:t>BODY STYLE COPY (B2*)		&lt;#&gt;</a:t>
            </a:r>
          </a:p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1"/>
            <a:endParaRPr lang="en-US" dirty="0"/>
          </a:p>
        </p:txBody>
      </p:sp>
      <p:pic>
        <p:nvPicPr>
          <p:cNvPr id="3" name="Picture 2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93A5E86B-789E-6A48-8268-3564794073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864" y="381000"/>
            <a:ext cx="384048" cy="384048"/>
          </a:xfrm>
          <a:prstGeom prst="rect">
            <a:avLst/>
          </a:prstGeom>
        </p:spPr>
      </p:pic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8CD10419-843F-3B43-AF64-2AE63CEFF3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2111" y="3034641"/>
            <a:ext cx="4115496" cy="30918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OC/AGENDA (H1*)</a:t>
            </a:r>
          </a:p>
        </p:txBody>
      </p:sp>
      <p:sp>
        <p:nvSpPr>
          <p:cNvPr id="15" name="Content Placeholder 13">
            <a:extLst>
              <a:ext uri="{FF2B5EF4-FFF2-40B4-BE49-F238E27FC236}">
                <a16:creationId xmlns:a16="http://schemas.microsoft.com/office/drawing/2014/main" id="{8A3CC781-CBAF-AC48-8A0E-03076845F27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716876" y="1143000"/>
            <a:ext cx="3036251" cy="4953000"/>
          </a:xfrm>
          <a:prstGeom prst="rect">
            <a:avLst/>
          </a:prstGeom>
        </p:spPr>
        <p:txBody>
          <a:bodyPr lIns="0" rIns="0" anchor="ctr"/>
          <a:lstStyle>
            <a:lvl1pPr>
              <a:defRPr sz="1200" b="1" i="0">
                <a:latin typeface="Montserrat" pitchFamily="2" charset="77"/>
              </a:defRPr>
            </a:lvl1pPr>
            <a:lvl2pPr marL="9525" indent="0">
              <a:buNone/>
              <a:tabLst/>
              <a:defRPr sz="1000" b="0" i="0">
                <a:latin typeface="Montserrat" pitchFamily="2" charset="77"/>
              </a:defRPr>
            </a:lvl2pPr>
            <a:lvl3pPr>
              <a:defRPr sz="1800" b="0" i="0">
                <a:latin typeface="Montserrat" pitchFamily="2" charset="77"/>
              </a:defRPr>
            </a:lvl3pPr>
            <a:lvl4pPr>
              <a:defRPr sz="1800" b="0" i="0">
                <a:latin typeface="Montserrat" pitchFamily="2" charset="77"/>
              </a:defRPr>
            </a:lvl4pPr>
            <a:lvl5pPr>
              <a:defRPr sz="18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BODY STYLE COPY		&lt;#&gt;</a:t>
            </a:r>
          </a:p>
          <a:p>
            <a:pPr lvl="1"/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F32AC6-1E28-8949-B052-068AC0E81BF4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850C87A8-FA00-D743-ABCB-251CA6F39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88" y="3372949"/>
            <a:ext cx="4115496" cy="184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sz="10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SUBHEAD (H2*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645FBB-A563-6CF0-7EF9-8FBFE23B615C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79359746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978F75E3-2A24-5B76-8BCC-59FFE89D30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2550613F-C96A-40FC-3E8A-B5E92EA87D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7B4D601-C75B-7B49-A12C-59F60B0B0B4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8872" y="1524000"/>
            <a:ext cx="11314255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tx1"/>
                </a:solidFill>
                <a:latin typeface="Montserrat" pitchFamily="2" charset="77"/>
              </a:defRPr>
            </a:lvl1pPr>
            <a:lvl2pPr marL="11113" indent="0">
              <a:buNone/>
              <a:tabLst/>
              <a:defRPr sz="1600" b="0" i="0">
                <a:solidFill>
                  <a:schemeClr val="tx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pic>
        <p:nvPicPr>
          <p:cNvPr id="12" name="Picture 1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61AD88FE-3A06-E54B-B04A-652EC27C9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191957A-9026-2049-A3BB-811CF4984E6C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4F83432F-36E9-364F-8D08-DAA7B6ED2C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98928"/>
            <a:ext cx="10745992" cy="381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20BDD43-DB39-CB46-ABC3-7C1CDD213A47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5B5B53-FE58-9939-AEAA-6B92394971D9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104394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80">
          <p15:clr>
            <a:srgbClr val="FBAE40"/>
          </p15:clr>
        </p15:guide>
        <p15:guide id="4" pos="720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1D75336B-8DA3-C404-5D18-81B6BCCD03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BFEF7E7C-C104-29AF-B17D-5D4F2F6726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7B4D601-C75B-7B49-A12C-59F60B0B0B4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8872" y="1524000"/>
            <a:ext cx="11314255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tx1"/>
                </a:solidFill>
                <a:latin typeface="Montserrat" pitchFamily="2" charset="77"/>
              </a:defRPr>
            </a:lvl1pPr>
            <a:lvl2pPr marL="11113" indent="0">
              <a:buNone/>
              <a:tabLst/>
              <a:defRPr sz="1600" b="0" i="0">
                <a:solidFill>
                  <a:schemeClr val="tx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pic>
        <p:nvPicPr>
          <p:cNvPr id="12" name="Picture 11" descr="A picture containing object, clock, monitor, sitting&#10;&#10;Description automatically generated">
            <a:extLst>
              <a:ext uri="{FF2B5EF4-FFF2-40B4-BE49-F238E27FC236}">
                <a16:creationId xmlns:a16="http://schemas.microsoft.com/office/drawing/2014/main" id="{61AD88FE-3A06-E54B-B04A-652EC27C9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0999"/>
            <a:ext cx="384048" cy="384048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191957A-9026-2049-A3BB-811CF4984E6C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4F83432F-36E9-364F-8D08-DAA7B6ED2C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80999"/>
            <a:ext cx="10745992" cy="2462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tx2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79958B0D-8623-AD48-8541-2DF23C0FA4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871" y="693085"/>
            <a:ext cx="10756471" cy="184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sz="10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SUBHEAD (H2*)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8C9B72-6D57-CC4A-AA59-BDAE097DBCE0}"/>
              </a:ext>
            </a:extLst>
          </p:cNvPr>
          <p:cNvSpPr txBox="1">
            <a:spLocks/>
          </p:cNvSpPr>
          <p:nvPr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2">
                    <a:lumMod val="1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DD8E6F-D8A4-C4AC-B631-5CE8D93E0E82}"/>
              </a:ext>
            </a:extLst>
          </p:cNvPr>
          <p:cNvSpPr txBox="1"/>
          <p:nvPr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2">
                    <a:lumMod val="10000"/>
                  </a:schemeClr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2">
                    <a:lumMod val="10000"/>
                  </a:schemeClr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591135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80">
          <p15:clr>
            <a:srgbClr val="FBAE40"/>
          </p15:clr>
        </p15:guide>
        <p15:guide id="4" pos="72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Image Slide Dark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BB9D832E-4884-53F5-7853-9B5803DF05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606C89CE-4A0B-60F7-7EE5-F7A2FC1C65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C0BBFED7-8E02-9643-BA39-CD219CD4D0C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8872" y="1524000"/>
            <a:ext cx="11314255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D5699FB-4A24-B448-8178-2F6CF8059439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E95B32FB-1562-A14A-B499-F7181CE4F6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FE734095-AD90-4C45-AD00-F0D0B20681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398928"/>
            <a:ext cx="10745992" cy="381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02C7BA8-86D5-F212-D0EE-C4951BBB77C7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B7CCA0-A1CD-32B8-DADB-DB09ED73A1A4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2635049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 Dark">
    <p:bg>
      <p:bgPr>
        <a:solidFill>
          <a:srgbClr val="1F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99BDCF3C-22D1-F3A3-3B74-5FD12AA4EB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picture containing rectangle&#10;&#10;Description automatically generated">
            <a:extLst>
              <a:ext uri="{FF2B5EF4-FFF2-40B4-BE49-F238E27FC236}">
                <a16:creationId xmlns:a16="http://schemas.microsoft.com/office/drawing/2014/main" id="{550E4303-3374-526D-1EE0-A01AF57D32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C0BBFED7-8E02-9643-BA39-CD219CD4D0C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38872" y="1524000"/>
            <a:ext cx="11314255" cy="4572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Montserrat" pitchFamily="2" charset="77"/>
              </a:defRPr>
            </a:lvl1pPr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1"/>
                </a:solidFill>
                <a:latin typeface="Montserrat" pitchFamily="2" charset="77"/>
              </a:defRPr>
            </a:lvl2pPr>
            <a:lvl3pPr marL="346075" indent="-207963">
              <a:buSzPct val="100000"/>
              <a:buFont typeface="Arial" panose="020B0604020202020204" pitchFamily="34" charset="0"/>
              <a:buChar char="•"/>
              <a:tabLst/>
              <a:defRPr sz="14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400" b="0" i="0">
                <a:latin typeface="Montserrat" pitchFamily="2" charset="77"/>
              </a:defRPr>
            </a:lvl4pPr>
            <a:lvl5pPr>
              <a:defRPr sz="14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CLICK TO EDIT MASTER TEXT STYLES (B1*)</a:t>
            </a:r>
          </a:p>
          <a:p>
            <a:pPr lvl="1"/>
            <a:r>
              <a:rPr lang="en-US" dirty="0"/>
              <a:t>SUBHEAD (B2*)</a:t>
            </a:r>
          </a:p>
          <a:p>
            <a:pPr lvl="1"/>
            <a:endParaRPr lang="en-US" dirty="0"/>
          </a:p>
          <a:p>
            <a:pPr marL="11113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(B3*)</a:t>
            </a:r>
          </a:p>
          <a:p>
            <a:pPr lvl="2"/>
            <a:r>
              <a:rPr lang="en-US" dirty="0"/>
              <a:t>Third level (Bullet*)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60E845D7-DCDE-B04A-971A-0D545FA428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351" y="420982"/>
            <a:ext cx="10745992" cy="2462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00" b="0" i="0">
                <a:solidFill>
                  <a:schemeClr val="bg1"/>
                </a:solidFill>
                <a:effectLst/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ITLE GOES HERE (H1*)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D5699FB-4A24-B448-8178-2F6CF8059439}"/>
              </a:ext>
            </a:extLst>
          </p:cNvPr>
          <p:cNvSpPr txBox="1">
            <a:spLocks/>
          </p:cNvSpPr>
          <p:nvPr/>
        </p:nvSpPr>
        <p:spPr>
          <a:xfrm>
            <a:off x="11400290" y="6388190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E95B32FB-1562-A14A-B499-F7181CE4F6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0" y="381642"/>
            <a:ext cx="384048" cy="384048"/>
          </a:xfrm>
          <a:prstGeom prst="rect">
            <a:avLst/>
          </a:prstGeom>
        </p:spPr>
      </p:pic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018117C8-BCEA-2A43-85B6-5A4DB9FB98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351" y="750040"/>
            <a:ext cx="10745992" cy="14630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0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SUBHEAD (H2*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677C316-0FB1-F45C-08E8-11456ACF0AB5}"/>
              </a:ext>
            </a:extLst>
          </p:cNvPr>
          <p:cNvSpPr txBox="1">
            <a:spLocks/>
          </p:cNvSpPr>
          <p:nvPr userDrawn="1"/>
        </p:nvSpPr>
        <p:spPr>
          <a:xfrm>
            <a:off x="11482169" y="6399765"/>
            <a:ext cx="270958" cy="888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1" i="0" kern="1200">
                <a:solidFill>
                  <a:schemeClr val="bg1"/>
                </a:solidFill>
                <a:latin typeface="Montserrat SemiBold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75AE4-BFE3-EF43-B5EB-5CB0EF530F9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D7D3E7-B551-D5F7-91D6-95908658B0CB}"/>
              </a:ext>
            </a:extLst>
          </p:cNvPr>
          <p:cNvSpPr txBox="1"/>
          <p:nvPr userDrawn="1"/>
        </p:nvSpPr>
        <p:spPr>
          <a:xfrm>
            <a:off x="6858715" y="6399765"/>
            <a:ext cx="4572000" cy="8881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US" sz="600" b="1" i="0" dirty="0">
                <a:solidFill>
                  <a:schemeClr val="bg1"/>
                </a:solidFill>
                <a:latin typeface="Montserrat SemiBold" pitchFamily="2" charset="77"/>
              </a:rPr>
              <a:t>© EXTREME NETWORKS, INC.</a:t>
            </a:r>
            <a:r>
              <a:rPr lang="en-US" sz="600" b="0" i="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r>
              <a:rPr lang="en-US" sz="600" b="0" i="0" dirty="0">
                <a:solidFill>
                  <a:schemeClr val="bg1"/>
                </a:solidFill>
                <a:latin typeface="Montserrat Light" pitchFamily="2" charset="77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3401691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8659443-2373-CD44-B66C-FCB06249C0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13B0216-AE04-804E-9E8A-495EB9AEB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4320" y="6478905"/>
            <a:ext cx="381000" cy="242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>
                    <a:lumMod val="75000"/>
                  </a:schemeClr>
                </a:solidFill>
                <a:latin typeface="Montserrat" pitchFamily="2" charset="77"/>
              </a:defRPr>
            </a:lvl1pPr>
          </a:lstStyle>
          <a:p>
            <a:fld id="{3D475AE4-BFE3-EF43-B5EB-5CB0EF530F9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7F2E269-2CB7-0347-BC28-CBC5E09A5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492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58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43" r:id="rId2"/>
    <p:sldLayoutId id="2147483870" r:id="rId3"/>
    <p:sldLayoutId id="2147483841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3863" r:id="rId23"/>
    <p:sldLayoutId id="2147483864" r:id="rId24"/>
    <p:sldLayoutId id="2147483865" r:id="rId25"/>
    <p:sldLayoutId id="2147483866" r:id="rId26"/>
    <p:sldLayoutId id="2147483867" r:id="rId27"/>
    <p:sldLayoutId id="2147483868" r:id="rId28"/>
    <p:sldLayoutId id="2147483871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Montserrat SemiBold" pitchFamily="2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i="0" kern="1200">
          <a:solidFill>
            <a:schemeClr val="tx1"/>
          </a:solidFill>
          <a:latin typeface="Montserrat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Montserrat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-"/>
        <a:defRPr sz="2000" b="0" i="0" kern="1200">
          <a:solidFill>
            <a:schemeClr val="tx1"/>
          </a:solidFill>
          <a:latin typeface="Montserrat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-"/>
        <a:defRPr sz="1800" b="0" i="0" kern="1200">
          <a:solidFill>
            <a:schemeClr val="tx1"/>
          </a:solidFill>
          <a:latin typeface="Montserrat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Montserrat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pos="480">
          <p15:clr>
            <a:srgbClr val="F26B43"/>
          </p15:clr>
        </p15:guide>
        <p15:guide id="6" pos="960">
          <p15:clr>
            <a:srgbClr val="F26B43"/>
          </p15:clr>
        </p15:guide>
        <p15:guide id="7" pos="1680">
          <p15:clr>
            <a:srgbClr val="F26B43"/>
          </p15:clr>
        </p15:guide>
        <p15:guide id="8" pos="2400">
          <p15:clr>
            <a:srgbClr val="F26B43"/>
          </p15:clr>
        </p15:guide>
        <p15:guide id="9" pos="3120">
          <p15:clr>
            <a:srgbClr val="F26B43"/>
          </p15:clr>
        </p15:guide>
        <p15:guide id="10" pos="4560">
          <p15:clr>
            <a:srgbClr val="F26B43"/>
          </p15:clr>
        </p15:guide>
        <p15:guide id="11" pos="5280">
          <p15:clr>
            <a:srgbClr val="F26B43"/>
          </p15:clr>
        </p15:guide>
        <p15:guide id="12" pos="6000">
          <p15:clr>
            <a:srgbClr val="F26B43"/>
          </p15:clr>
        </p15:guide>
        <p15:guide id="13" pos="6720">
          <p15:clr>
            <a:srgbClr val="F26B43"/>
          </p15:clr>
        </p15:guide>
        <p15:guide id="14" pos="3696">
          <p15:clr>
            <a:srgbClr val="F26B43"/>
          </p15:clr>
        </p15:guide>
        <p15:guide id="15" pos="3984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80">
          <p15:clr>
            <a:srgbClr val="F26B43"/>
          </p15:clr>
        </p15:guide>
        <p15:guide id="18" orient="horz" pos="720">
          <p15:clr>
            <a:srgbClr val="F26B43"/>
          </p15:clr>
        </p15:guide>
        <p15:guide id="19" orient="horz" pos="960">
          <p15:clr>
            <a:srgbClr val="F26B43"/>
          </p15:clr>
        </p15:guide>
        <p15:guide id="20" orient="horz" pos="1200">
          <p15:clr>
            <a:srgbClr val="F26B43"/>
          </p15:clr>
        </p15:guide>
        <p15:guide id="21" orient="horz" pos="1440">
          <p15:clr>
            <a:srgbClr val="F26B43"/>
          </p15:clr>
        </p15:guide>
        <p15:guide id="22" orient="horz" pos="1680">
          <p15:clr>
            <a:srgbClr val="F26B43"/>
          </p15:clr>
        </p15:guide>
        <p15:guide id="23" orient="horz" pos="1920">
          <p15:clr>
            <a:srgbClr val="F26B43"/>
          </p15:clr>
        </p15:guide>
        <p15:guide id="24" orient="horz" pos="2400">
          <p15:clr>
            <a:srgbClr val="F26B43"/>
          </p15:clr>
        </p15:guide>
        <p15:guide id="25" orient="horz" pos="2640">
          <p15:clr>
            <a:srgbClr val="F26B43"/>
          </p15:clr>
        </p15:guide>
        <p15:guide id="26" orient="horz" pos="2880">
          <p15:clr>
            <a:srgbClr val="F26B43"/>
          </p15:clr>
        </p15:guide>
        <p15:guide id="27" orient="horz" pos="3120">
          <p15:clr>
            <a:srgbClr val="F26B43"/>
          </p15:clr>
        </p15:guide>
        <p15:guide id="28" orient="horz" pos="3360">
          <p15:clr>
            <a:srgbClr val="F26B43"/>
          </p15:clr>
        </p15:guide>
        <p15:guide id="29" orient="horz" pos="3600">
          <p15:clr>
            <a:srgbClr val="F26B43"/>
          </p15:clr>
        </p15:guide>
        <p15:guide id="30" orient="horz" pos="3840">
          <p15:clr>
            <a:srgbClr val="F26B43"/>
          </p15:clr>
        </p15:guide>
        <p15:guide id="31" orient="horz" pos="4080">
          <p15:clr>
            <a:srgbClr val="F26B43"/>
          </p15:clr>
        </p15:guide>
        <p15:guide id="32" pos="72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ED9177F-2178-4B05-A56A-687886EB6A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ED9177F-2178-4B05-A56A-687886EB6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6C9B43D-BC03-4B5F-A088-41A6573555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leo" panose="020F0502020204030203" pitchFamily="34" charset="0"/>
              <a:ea typeface="+mj-ea"/>
              <a:cs typeface="Arial" panose="020B0604020202020204" pitchFamily="34" charset="0"/>
              <a:sym typeface="Aleo" panose="020F0502020204030203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57098E-5D3B-449A-96ED-9618A0D11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096001"/>
            <a:ext cx="2844800" cy="212725"/>
          </a:xfrm>
        </p:spPr>
        <p:txBody>
          <a:bodyPr/>
          <a:lstStyle/>
          <a:p>
            <a:fld id="{D807A9E4-5B2C-4157-9C6E-D65CCF47693C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322FA1-F228-48DE-B9A4-018A3379138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1600" y="271463"/>
            <a:ext cx="12090400" cy="549275"/>
          </a:xfrm>
          <a:prstGeom prst="rect">
            <a:avLst/>
          </a:prstGeom>
        </p:spPr>
        <p:txBody>
          <a:bodyPr vert="horz" lIns="91440" tIns="182880" rIns="91440" bIns="45720" anchor="ctr">
            <a:normAutofit fontScale="90000"/>
          </a:bodyPr>
          <a:lstStyle/>
          <a:p>
            <a:pPr algn="l"/>
            <a:r>
              <a:rPr lang="en-US" sz="3200" b="1" dirty="0">
                <a:solidFill>
                  <a:schemeClr val="accent1"/>
                </a:solidFill>
                <a:latin typeface="Aleo"/>
                <a:cs typeface="Arial"/>
              </a:rPr>
              <a:t>Data Model for Customer Revenue by Sales Territor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E59A50-D346-4029-B66A-D2AF0B056324}"/>
              </a:ext>
            </a:extLst>
          </p:cNvPr>
          <p:cNvSpPr/>
          <p:nvPr/>
        </p:nvSpPr>
        <p:spPr>
          <a:xfrm>
            <a:off x="276894" y="983226"/>
            <a:ext cx="11915106" cy="53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t quarter 2024-Q4, the Sales Team went through a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gnment process in which they reallocated Customers to different sales territories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For example,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ME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once in the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east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itory but is now aligned to the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-Market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rritory, and therefore is covered by a new sales team.</a:t>
            </a: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ustomer table in the source systems looked as such on Day 1 and Day 2 respectively:</a:t>
            </a: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xample,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ME’s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 from 2024-Q3 should be presented in the former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east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itory where revenue from 2024-Q4 should be presented in the new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-Market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ito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provide the follow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ty-level design of the dimensional data model of facts and dimensions with only those attributes required to clarify the design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ck-up of how you might design a visualization/output to represent the actual revenue by Sales Terri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would the Customer record appear in your design at the end of Day 2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process would you consider to ingest the forecasted revenue by Territory from Sales Operations and join together with actual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would you write queries on the data model designed for the followi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 of distinct customers that had revenue &gt;$10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 of actual revenue, forecasted revenue, and the difference for each by Quarter &amp; Territ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 territories that no longer exist as of today [but did exist previously]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gs to consid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esign approach would you use for the dimensions to capture point-in-time information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dditional questions might you ask the business to anticipate additional drill-down use cases? How might those be incorporated in the desig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re the logical steps you would take to design and build out this use case?</a:t>
            </a:r>
            <a:endParaRPr lang="en-US" sz="14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E921E0A3-5BDB-4E9C-846E-EF4ACCD4C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047950"/>
              </p:ext>
            </p:extLst>
          </p:nvPr>
        </p:nvGraphicFramePr>
        <p:xfrm>
          <a:off x="1569720" y="2006597"/>
          <a:ext cx="9052560" cy="112776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731520">
                  <a:extLst>
                    <a:ext uri="{9D8B030D-6E8A-4147-A177-3AD203B41FA5}">
                      <a16:colId xmlns:a16="http://schemas.microsoft.com/office/drawing/2014/main" val="2404828600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889677167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4136488648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198992669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136610410"/>
                    </a:ext>
                  </a:extLst>
                </a:gridCol>
                <a:gridCol w="274320">
                  <a:extLst>
                    <a:ext uri="{9D8B030D-6E8A-4147-A177-3AD203B41FA5}">
                      <a16:colId xmlns:a16="http://schemas.microsoft.com/office/drawing/2014/main" val="1270709462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27524813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058650947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4013214816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384110508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51890804"/>
                    </a:ext>
                  </a:extLst>
                </a:gridCol>
              </a:tblGrid>
              <a:tr h="0"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Day 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y 2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1427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rce ID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any Nam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rritory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 Dat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date Dat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rce ID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any Nam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rritory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 Dat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date Dat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6182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M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rtheast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/1/2024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/1/2024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M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d-Market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/1/2024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/1/2024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3830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3864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4767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uTA7ERNa.Pdiqh.7LPaw"/>
</p:tagLst>
</file>

<file path=ppt/theme/theme1.xml><?xml version="1.0" encoding="utf-8"?>
<a:theme xmlns:a="http://schemas.openxmlformats.org/drawingml/2006/main" name="2023-PowerPoint-Template">
  <a:themeElements>
    <a:clrScheme name="Custom 1">
      <a:dk1>
        <a:srgbClr val="1A1A1A"/>
      </a:dk1>
      <a:lt1>
        <a:srgbClr val="FFFFFF"/>
      </a:lt1>
      <a:dk2>
        <a:srgbClr val="440099"/>
      </a:dk2>
      <a:lt2>
        <a:srgbClr val="E7E6E6"/>
      </a:lt2>
      <a:accent1>
        <a:srgbClr val="8888FF"/>
      </a:accent1>
      <a:accent2>
        <a:srgbClr val="00AA60"/>
      </a:accent2>
      <a:accent3>
        <a:srgbClr val="FCB322"/>
      </a:accent3>
      <a:accent4>
        <a:srgbClr val="FF5959"/>
      </a:accent4>
      <a:accent5>
        <a:srgbClr val="00BBC5"/>
      </a:accent5>
      <a:accent6>
        <a:srgbClr val="8D8D8D"/>
      </a:accent6>
      <a:hlink>
        <a:srgbClr val="00A5BE"/>
      </a:hlink>
      <a:folHlink>
        <a:srgbClr val="954F72"/>
      </a:folHlink>
    </a:clrScheme>
    <a:fontScheme name="Montserrat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treme-Networks-Corporate-PPT-Template-2023_v2" id="{71383A09-9D98-C44A-8B60-142DB7961FA2}" vid="{0557EC58-4850-E647-9CA9-C56B2B92D6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B0715A59DFAB4795244A31903DE4CC" ma:contentTypeVersion="17" ma:contentTypeDescription="Create a new document." ma:contentTypeScope="" ma:versionID="984f51821b9f240030197d8472258971">
  <xsd:schema xmlns:xsd="http://www.w3.org/2001/XMLSchema" xmlns:xs="http://www.w3.org/2001/XMLSchema" xmlns:p="http://schemas.microsoft.com/office/2006/metadata/properties" xmlns:ns2="ad4d5fb8-19e4-479e-9f87-a5e90038b8e2" xmlns:ns3="e651cc53-8bff-49dc-a420-0e236a11ed2c" targetNamespace="http://schemas.microsoft.com/office/2006/metadata/properties" ma:root="true" ma:fieldsID="923d6a182665ce84cf7e15523c019c8c" ns2:_="" ns3:_="">
    <xsd:import namespace="ad4d5fb8-19e4-479e-9f87-a5e90038b8e2"/>
    <xsd:import namespace="e651cc53-8bff-49dc-a420-0e236a11ed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Statu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Linkto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4d5fb8-19e4-479e-9f87-a5e90038b8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Status" ma:index="18" nillable="true" ma:displayName="Status" ma:default="Draft" ma:description="The level of completeness the document is in.  &#10;Draft: initial state, not ready for review.  &#10;In Review: completed but pending approvals.  &#10;Live: Active document that is subject to ongoing changes (e.g. enterprise data flows).  &#10;Retired: Document that is not that lest version of information and should be archived pending review." ma:format="RadioButtons" ma:internalName="Status">
      <xsd:simpleType>
        <xsd:restriction base="dms:Choice">
          <xsd:enumeration value="Draft"/>
          <xsd:enumeration value="In Review"/>
          <xsd:enumeration value="Live"/>
          <xsd:enumeration value="Retired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13c0e211-03aa-4bd6-8230-25cc4e19612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inktoDetails" ma:index="23" nillable="true" ma:displayName="Link to Details" ma:description="Include links to detailed documentation, examples etc." ma:format="Hyperlink" ma:internalName="LinktoDetail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51cc53-8bff-49dc-a420-0e236a11ed2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a28a3648-42f3-4c5a-ae9f-b6fa1a7636df}" ma:internalName="TaxCatchAll" ma:showField="CatchAllData" ma:web="e651cc53-8bff-49dc-a420-0e236a11ed2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A3A908-4ADB-489C-A78C-F623F0DE84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93F453-DC28-403B-93C4-ECD2118DC6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4d5fb8-19e4-479e-9f87-a5e90038b8e2"/>
    <ds:schemaRef ds:uri="e651cc53-8bff-49dc-a420-0e236a11ed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treme-Networks-Corporate-PPT-Template</Template>
  <TotalTime>37</TotalTime>
  <Words>334</Words>
  <Application>Microsoft Office PowerPoint</Application>
  <PresentationFormat>Widescreen</PresentationFormat>
  <Paragraphs>5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Montserrat Thin</vt:lpstr>
      <vt:lpstr>Montserrat SemiBold</vt:lpstr>
      <vt:lpstr>Calibri</vt:lpstr>
      <vt:lpstr>Aleo</vt:lpstr>
      <vt:lpstr>Montserrat Light</vt:lpstr>
      <vt:lpstr>Montserrat</vt:lpstr>
      <vt:lpstr>2023-PowerPoint-Template</vt:lpstr>
      <vt:lpstr>think-cell Slide</vt:lpstr>
      <vt:lpstr>Data Model for Customer Revenue by Sales Territo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cine Klein (CW)</dc:creator>
  <cp:lastModifiedBy>Harris Tucker</cp:lastModifiedBy>
  <cp:revision>4</cp:revision>
  <dcterms:created xsi:type="dcterms:W3CDTF">2024-07-23T23:57:41Z</dcterms:created>
  <dcterms:modified xsi:type="dcterms:W3CDTF">2024-11-06T04:36:25Z</dcterms:modified>
</cp:coreProperties>
</file>